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bookmarkIdSeed="3">
  <p:sldMasterIdLst>
    <p:sldMasterId id="2147485197" r:id="rId1"/>
    <p:sldMasterId id="2147485265" r:id="rId2"/>
    <p:sldMasterId id="2147485516" r:id="rId3"/>
    <p:sldMasterId id="2147485424" r:id="rId4"/>
  </p:sldMasterIdLst>
  <p:notesMasterIdLst>
    <p:notesMasterId r:id="rId12"/>
  </p:notesMasterIdLst>
  <p:handoutMasterIdLst>
    <p:handoutMasterId r:id="rId13"/>
  </p:handoutMasterIdLst>
  <p:sldIdLst>
    <p:sldId id="500" r:id="rId5"/>
    <p:sldId id="501" r:id="rId6"/>
    <p:sldId id="508" r:id="rId7"/>
    <p:sldId id="505" r:id="rId8"/>
    <p:sldId id="509" r:id="rId9"/>
    <p:sldId id="506" r:id="rId10"/>
    <p:sldId id="507" r:id="rId11"/>
  </p:sldIdLst>
  <p:sldSz cx="9144000" cy="6858000" type="screen4x3"/>
  <p:notesSz cx="6735763" cy="98663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ohar Grigorian" initials="GG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1" autoAdjust="0"/>
    <p:restoredTop sz="67669" autoAdjust="0"/>
  </p:normalViewPr>
  <p:slideViewPr>
    <p:cSldViewPr snapToGrid="0" snapToObjects="1">
      <p:cViewPr varScale="1">
        <p:scale>
          <a:sx n="83" d="100"/>
          <a:sy n="83" d="100"/>
        </p:scale>
        <p:origin x="1406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-3180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4798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63A73407-9E61-424A-B0F2-5A623095F2BC}" type="datetimeFigureOut">
              <a:rPr lang="en-US"/>
              <a:pPr>
                <a:defRPr/>
              </a:pPr>
              <a:t>3/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4798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D6928F1E-31BD-4991-8F9D-46CA2C54133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17758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4798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5F77F1B4-B009-41BF-A2EA-B40E14E8E4BB}" type="datetimeFigureOut">
              <a:rPr lang="en-US"/>
              <a:pPr>
                <a:defRPr/>
              </a:pPr>
              <a:t>3/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0113" y="739775"/>
            <a:ext cx="4935537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16" tIns="45208" rIns="90416" bIns="45208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188" y="4687174"/>
            <a:ext cx="5387390" cy="4439503"/>
          </a:xfrm>
          <a:prstGeom prst="rect">
            <a:avLst/>
          </a:prstGeom>
        </p:spPr>
        <p:txBody>
          <a:bodyPr vert="horz" lIns="90416" tIns="45208" rIns="90416" bIns="45208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4798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FC9B17A6-8FF8-405B-9CCE-AE6A392A6C0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9781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9B17A6-8FF8-405B-9CCE-AE6A392A6C03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586456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03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4258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89079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4139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51666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73452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28047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50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251072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99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34902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2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65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98524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2803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636483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900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10702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/>
          <a:p>
            <a:fld id="{371166F7-FEBA-3B46-9CA5-8AE60F5AD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1792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wb247868\Desktop\New POWERPOINT TEMPLATES\Template 1\images\images\template2_0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32"/>
          <a:stretch/>
        </p:blipFill>
        <p:spPr bwMode="auto">
          <a:xfrm flipV="1">
            <a:off x="0" y="0"/>
            <a:ext cx="9168169" cy="22225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6667500"/>
            <a:ext cx="2743199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25908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4750764-EB7A-40E0-9262-039BC724AE8A}" type="slidenum">
              <a:rPr lang="en-US" sz="16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WBG-SURR-Horizontal-RGB-high"/>
          <p:cNvPicPr/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492874"/>
            <a:ext cx="2057400" cy="365125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3536987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589"/>
                        <a:ext cx="151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1" y="260351"/>
            <a:ext cx="8496300" cy="5762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323851" y="852040"/>
            <a:ext cx="8496300" cy="274320"/>
          </a:xfrm>
          <a:noFill/>
          <a:ln>
            <a:noFill/>
          </a:ln>
          <a:effectLst/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  <a:normAutofit/>
          </a:bodyPr>
          <a:lstStyle>
            <a:lvl1pPr algn="l" defTabSz="435437" rtl="0" eaLnBrk="1" latinLnBrk="0" hangingPunct="1">
              <a:spcBef>
                <a:spcPct val="0"/>
              </a:spcBef>
              <a:buFontTx/>
              <a:buNone/>
              <a:defRPr lang="de-DE" sz="1714" b="0" kern="1200" noProof="0" dirty="0">
                <a:solidFill>
                  <a:schemeClr val="tx2"/>
                </a:solidFill>
                <a:latin typeface="+mj-lt"/>
                <a:ea typeface="+mj-ea"/>
                <a:cs typeface="Arial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84414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FF758475-CBAC-4C17-93A0-2B15C7C3AF5F}" type="datetimeFigureOut">
              <a:rPr kumimoji="1" lang="ja-JP" altLang="en-US" smtClean="0"/>
              <a:t>2018/3/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/>
          <a:p>
            <a:fld id="{B091E024-831B-42B7-AA81-51BE908FDC6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457708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obs Full Page 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endParaRPr lang="en-US" altLang="en-US" sz="1300" b="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 anchor="t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159329"/>
            <a:ext cx="8477250" cy="505308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E18969D-16CF-4DFE-AEF6-C766460D6883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15501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69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4494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8957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359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8906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7601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6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5678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4926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6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18623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9622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5307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028350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5" y="301625"/>
            <a:ext cx="7102104" cy="667338"/>
          </a:xfrm>
        </p:spPr>
        <p:txBody>
          <a:bodyPr/>
          <a:lstStyle>
            <a:lvl1pPr>
              <a:defRPr sz="2800" b="1" i="0" cap="none" baseline="0">
                <a:solidFill>
                  <a:srgbClr val="021F4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845422"/>
            <a:ext cx="8440305" cy="4215941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204562"/>
            <a:ext cx="8435473" cy="64086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15189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587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7630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3541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7174023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D33A1-7D54-4980-B6AE-E0A6A8B6D590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779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7051174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3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2B5E21-0814-4E53-8E0F-037F2094EB7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65" name="Picture 6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304308" y="353502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146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4" y="301625"/>
            <a:ext cx="7153475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025408"/>
            <a:ext cx="8435473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32051" y="13049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556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811658"/>
            <a:ext cx="3010890" cy="5111160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811658"/>
            <a:ext cx="5207000" cy="507652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95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288636"/>
            <a:ext cx="7204846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61779" y="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7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7129153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81448" y="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903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7174023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376531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01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58131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5320B-B2EE-4B14-85B0-118247296CE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589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06904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220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09423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63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10170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21968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51968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678327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725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28974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8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lang="en-US" sz="2800" b="1" i="0" cap="none" baseline="0" dirty="0" smtClean="0">
                <a:solidFill>
                  <a:srgbClr val="021F43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1" name="Picture 7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113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28600"/>
            <a:ext cx="8229600" cy="990600"/>
          </a:xfrm>
        </p:spPr>
        <p:txBody>
          <a:bodyPr>
            <a:normAutofit/>
          </a:bodyPr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B7AFB-31DA-4FA7-A970-3C966B6E658D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49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5320B-B2EE-4B14-85B0-118247296CE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55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360362" y="6356350"/>
            <a:ext cx="72675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8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lang="en-US" sz="2800" b="1" i="0" cap="none" baseline="0" dirty="0" smtClean="0">
                <a:solidFill>
                  <a:srgbClr val="021F43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1" name="Picture 7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C09118-7A22-4BC9-B902-C4F9EC943EE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5163" y="6502400"/>
            <a:ext cx="914400" cy="9144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217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028350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5" y="301625"/>
            <a:ext cx="7102104" cy="667338"/>
          </a:xfrm>
        </p:spPr>
        <p:txBody>
          <a:bodyPr/>
          <a:lstStyle>
            <a:lvl1pPr>
              <a:defRPr sz="2800" b="1" i="0" cap="none" baseline="0">
                <a:solidFill>
                  <a:srgbClr val="021F4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845422"/>
            <a:ext cx="8440305" cy="4215941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204562"/>
            <a:ext cx="8435473" cy="64086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15189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139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21" Type="http://schemas.openxmlformats.org/officeDocument/2006/relationships/image" Target="../media/image8.jpeg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47975" y="6356350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213" y="6329363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02" r:id="rId1"/>
    <p:sldLayoutId id="2147485403" r:id="rId2"/>
    <p:sldLayoutId id="2147485404" r:id="rId3"/>
    <p:sldLayoutId id="2147485486" r:id="rId4"/>
    <p:sldLayoutId id="2147485488" r:id="rId5"/>
    <p:sldLayoutId id="2147485514" r:id="rId6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A9660D9-7752-489B-BDF8-9A9060DE1D4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921746" y="6207125"/>
            <a:ext cx="2853954" cy="548640"/>
            <a:chOff x="378954" y="5699153"/>
            <a:chExt cx="4794996" cy="921783"/>
          </a:xfrm>
        </p:grpSpPr>
        <p:pic>
          <p:nvPicPr>
            <p:cNvPr id="12" name="Picture 6">
              <a:extLst>
                <a:ext uri="{FF2B5EF4-FFF2-40B4-BE49-F238E27FC236}">
                  <a16:creationId xmlns:a16="http://schemas.microsoft.com/office/drawing/2014/main" id="{652F06F5-5C03-436A-8D4A-6B06BB9F17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9952" y="5947058"/>
              <a:ext cx="1984545" cy="3893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1B61CE06-7769-408C-B86C-7C321E853F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407" r="26016" b="50350"/>
            <a:stretch/>
          </p:blipFill>
          <p:spPr>
            <a:xfrm>
              <a:off x="3944835" y="5760759"/>
              <a:ext cx="1229115" cy="77231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0BD4770F-3544-4585-900C-FC11BDC675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378954" y="5699153"/>
              <a:ext cx="1133544" cy="921783"/>
            </a:xfrm>
            <a:prstGeom prst="rect">
              <a:avLst/>
            </a:prstGeom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05" r:id="rId1"/>
    <p:sldLayoutId id="2147485406" r:id="rId2"/>
    <p:sldLayoutId id="2147485407" r:id="rId3"/>
    <p:sldLayoutId id="2147485390" r:id="rId4"/>
    <p:sldLayoutId id="2147485391" r:id="rId5"/>
    <p:sldLayoutId id="2147485392" r:id="rId6"/>
    <p:sldLayoutId id="2147485393" r:id="rId7"/>
    <p:sldLayoutId id="2147485394" r:id="rId8"/>
    <p:sldLayoutId id="2147485395" r:id="rId9"/>
    <p:sldLayoutId id="2147485408" r:id="rId10"/>
    <p:sldLayoutId id="2147485396" r:id="rId11"/>
    <p:sldLayoutId id="2147485409" r:id="rId12"/>
    <p:sldLayoutId id="2147485397" r:id="rId13"/>
    <p:sldLayoutId id="2147485398" r:id="rId14"/>
    <p:sldLayoutId id="2147485399" r:id="rId15"/>
    <p:sldLayoutId id="2147485400" r:id="rId16"/>
    <p:sldLayoutId id="2147485410" r:id="rId17"/>
    <p:sldLayoutId id="2147485401" r:id="rId18"/>
    <p:sldLayoutId id="2147485480" r:id="rId19"/>
    <p:sldLayoutId id="2147485481" r:id="rId20"/>
    <p:sldLayoutId id="2147485482" r:id="rId21"/>
    <p:sldLayoutId id="2147485483" r:id="rId22"/>
    <p:sldLayoutId id="2147485484" r:id="rId23"/>
    <p:sldLayoutId id="2147485515" r:id="rId24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96CE96-045B-40ED-8D02-354C03B54DA5}" type="datetimeFigureOut">
              <a:rPr lang="en-US" smtClean="0"/>
              <a:t>3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624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17" r:id="rId1"/>
    <p:sldLayoutId id="2147485518" r:id="rId2"/>
    <p:sldLayoutId id="2147485519" r:id="rId3"/>
    <p:sldLayoutId id="2147485520" r:id="rId4"/>
    <p:sldLayoutId id="2147485521" r:id="rId5"/>
    <p:sldLayoutId id="2147485522" r:id="rId6"/>
    <p:sldLayoutId id="2147485523" r:id="rId7"/>
    <p:sldLayoutId id="2147485524" r:id="rId8"/>
    <p:sldLayoutId id="2147485525" r:id="rId9"/>
    <p:sldLayoutId id="2147485526" r:id="rId10"/>
    <p:sldLayoutId id="214748552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>
              <a:solidFill>
                <a:srgbClr val="021F43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278FDC0-69C8-4E1A-B751-B4BF4EA2AB12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0539" y="6350407"/>
            <a:ext cx="1968024" cy="386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89419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5" r:id="rId1"/>
    <p:sldLayoutId id="2147485426" r:id="rId2"/>
    <p:sldLayoutId id="2147485427" r:id="rId3"/>
    <p:sldLayoutId id="2147485428" r:id="rId4"/>
    <p:sldLayoutId id="2147485429" r:id="rId5"/>
    <p:sldLayoutId id="2147485430" r:id="rId6"/>
    <p:sldLayoutId id="2147485431" r:id="rId7"/>
    <p:sldLayoutId id="2147485432" r:id="rId8"/>
    <p:sldLayoutId id="2147485433" r:id="rId9"/>
    <p:sldLayoutId id="2147485434" r:id="rId10"/>
    <p:sldLayoutId id="2147485435" r:id="rId11"/>
    <p:sldLayoutId id="2147485436" r:id="rId12"/>
    <p:sldLayoutId id="2147485437" r:id="rId13"/>
    <p:sldLayoutId id="2147485438" r:id="rId14"/>
    <p:sldLayoutId id="2147485439" r:id="rId15"/>
    <p:sldLayoutId id="2147485440" r:id="rId16"/>
    <p:sldLayoutId id="2147485441" r:id="rId17"/>
    <p:sldLayoutId id="2147485442" r:id="rId18"/>
    <p:sldLayoutId id="2147485443" r:id="rId19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438912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41961" y="4642409"/>
            <a:ext cx="854465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400" b="0" kern="0" noProof="0" dirty="0">
                <a:solidFill>
                  <a:srgbClr val="002060"/>
                </a:solidFill>
                <a:latin typeface="Calibri" panose="020F0502020204030204" pitchFamily="34" charset="0"/>
              </a:rPr>
              <a:t>Technical Deep Dive on Urban Regeneration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400" b="0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</a:rPr>
              <a:t>February</a:t>
            </a:r>
            <a:r>
              <a:rPr kumimoji="0" lang="en-US" altLang="ja-JP" sz="2400" b="0" i="0" u="none" strike="noStrike" kern="0" cap="none" spc="0" normalizeH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</a:rPr>
              <a:t> 13-17, 2018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400" b="0" kern="0" baseline="0" noProof="0" dirty="0">
                <a:solidFill>
                  <a:srgbClr val="002060"/>
                </a:solidFill>
                <a:latin typeface="Calibri" panose="020F0502020204030204" pitchFamily="34" charset="0"/>
              </a:rPr>
              <a:t>Tokyo</a:t>
            </a:r>
            <a:endParaRPr kumimoji="0" lang="en-US" altLang="ja-JP" sz="2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07" r="26016" b="50350"/>
          <a:stretch/>
        </p:blipFill>
        <p:spPr>
          <a:xfrm>
            <a:off x="7415101" y="162734"/>
            <a:ext cx="1571513" cy="987459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/>
          <p:cNvSpPr txBox="1"/>
          <p:nvPr/>
        </p:nvSpPr>
        <p:spPr>
          <a:xfrm>
            <a:off x="11722" y="3424359"/>
            <a:ext cx="7502261" cy="830997"/>
          </a:xfrm>
          <a:prstGeom prst="rect">
            <a:avLst/>
          </a:prstGeom>
          <a:solidFill>
            <a:srgbClr val="021F43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b="0" kern="0" dirty="0">
                <a:solidFill>
                  <a:schemeClr val="bg1"/>
                </a:solidFill>
                <a:latin typeface="Calibri" panose="020F0502020204030204" pitchFamily="34" charset="0"/>
              </a:rPr>
              <a:t>&lt;Country Name&gt; Action Plan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783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Country&gt; Key Takeaways from TDD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343401" y="1559891"/>
            <a:ext cx="8440305" cy="4600863"/>
          </a:xfrm>
        </p:spPr>
        <p:txBody>
          <a:bodyPr>
            <a:normAutofit/>
          </a:bodyPr>
          <a:lstStyle/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Key Takeaway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Key Takeaway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Key Takeaway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Key Takeaway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Key Takeaway&gt;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376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8448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41520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573922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Country&gt; Accomplishments Needed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343401" y="1559891"/>
            <a:ext cx="8440305" cy="4600863"/>
          </a:xfrm>
        </p:spPr>
        <p:txBody>
          <a:bodyPr>
            <a:normAutofit/>
          </a:bodyPr>
          <a:lstStyle/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Accomplishment/Goal&gt;</a:t>
            </a:r>
          </a:p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Accomplishment/Goal&gt;</a:t>
            </a:r>
          </a:p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Accomplishment/Goal&gt;</a:t>
            </a:r>
          </a:p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Accomplishment/Goal&gt;</a:t>
            </a:r>
          </a:p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Accomplishment/Goal&gt;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376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8448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41520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839243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Country&gt; Actions to be Taken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343401" y="1559891"/>
            <a:ext cx="8440305" cy="4600863"/>
          </a:xfrm>
        </p:spPr>
        <p:txBody>
          <a:bodyPr>
            <a:norm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>
                <a:latin typeface="+mn-lt"/>
              </a:rPr>
              <a:t>Short-term: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&lt;Action to be Taken&gt;, by &lt;Who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228600" lv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>
                <a:latin typeface="+mn-lt"/>
              </a:rPr>
              <a:t>Medium-term: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228600" lv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/>
              <a:t>Long-term: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0" lvl="1" indent="0">
              <a:spcAft>
                <a:spcPts val="60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243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Country&gt; Action Plan for Implementation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343401" y="1559891"/>
            <a:ext cx="8440305" cy="4600863"/>
          </a:xfrm>
        </p:spPr>
        <p:txBody>
          <a:bodyPr>
            <a:norm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ja-JP" b="1" u="sng" dirty="0">
                <a:latin typeface="+mn-lt"/>
              </a:rPr>
              <a:t>Technical Assistance Work Planned</a:t>
            </a:r>
            <a:r>
              <a:rPr lang="en-US" b="1" u="sng" dirty="0">
                <a:latin typeface="+mn-lt"/>
              </a:rPr>
              <a:t>: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&lt;TA component&gt; &lt;Cost Estimates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ja-JP" dirty="0"/>
              <a:t>&lt;TA component&gt; &lt;Cost Estimates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ja-JP" dirty="0"/>
              <a:t>&lt;TA component&gt; &lt;Cost Estimates&gt;</a:t>
            </a:r>
          </a:p>
          <a:p>
            <a:pPr marL="228600" lv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>
                <a:latin typeface="+mn-lt"/>
              </a:rPr>
              <a:t>Investment Work Planned: 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Goods/ Works/ Services&gt; &lt;Cost Estimates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ja-JP" dirty="0"/>
              <a:t>&lt;Goods/ Works/ Services&gt; &lt;Cost Estimates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ja-JP" dirty="0"/>
              <a:t>&lt;Goods/ Works/ Services&gt; &lt;Cost Estimates&gt;</a:t>
            </a:r>
          </a:p>
        </p:txBody>
      </p:sp>
    </p:spTree>
    <p:extLst>
      <p:ext uri="{BB962C8B-B14F-4D97-AF65-F5344CB8AC3E}">
        <p14:creationId xmlns:p14="http://schemas.microsoft.com/office/powerpoint/2010/main" val="1580703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rrier/Challenge of Implementation of Plan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343401" y="1559891"/>
            <a:ext cx="8440305" cy="4600863"/>
          </a:xfrm>
        </p:spPr>
        <p:txBody>
          <a:bodyPr>
            <a:normAutofit/>
          </a:bodyPr>
          <a:lstStyle/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Barrier/Challenge&gt; &amp; &lt;Current efforts to address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Barrier/Challenge&gt; &amp; &lt;Current efforts to address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Barrier/Challenge&gt; &amp; &lt;Current efforts to address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Barrier/Challenge&gt; &amp; &lt;Current efforts to address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Barrier/Challenge&gt; &amp; &lt;Current efforts to address&gt;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376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8448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41520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84626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Country&gt; Support Needed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343401" y="1417835"/>
            <a:ext cx="8440305" cy="4742920"/>
          </a:xfrm>
        </p:spPr>
        <p:txBody>
          <a:bodyPr>
            <a:norm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>
                <a:latin typeface="+mn-lt"/>
              </a:rPr>
              <a:t>World Bank: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&lt;Support Requested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228600" lv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>
                <a:latin typeface="+mn-lt"/>
              </a:rPr>
              <a:t>TDLC Program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228600" lv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/>
              <a:t>Knowledge Products (Case Studies,  Policy Notes, etc.)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0" lvl="1" indent="0">
              <a:spcAft>
                <a:spcPts val="60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01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BG-Any_Logo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Full Page Interior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Full Page Interior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BG-Any_Logo</Template>
  <TotalTime>26060</TotalTime>
  <Words>339</Words>
  <Application>Microsoft Office PowerPoint</Application>
  <PresentationFormat>On-screen Show (4:3)</PresentationFormat>
  <Paragraphs>58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2" baseType="lpstr">
      <vt:lpstr>ＭＳ Ｐゴシック</vt:lpstr>
      <vt:lpstr>ＭＳ Ｐゴシック</vt:lpstr>
      <vt:lpstr>Andes ExtraLight</vt:lpstr>
      <vt:lpstr>Arial</vt:lpstr>
      <vt:lpstr>Arial Bold</vt:lpstr>
      <vt:lpstr>Calibri</vt:lpstr>
      <vt:lpstr>Calibri Light</vt:lpstr>
      <vt:lpstr>Times New Roman</vt:lpstr>
      <vt:lpstr>Trebuchet MS</vt:lpstr>
      <vt:lpstr>Wingdings</vt:lpstr>
      <vt:lpstr>WBG-Any_Logo</vt:lpstr>
      <vt:lpstr>Full Page Interior</vt:lpstr>
      <vt:lpstr>Custom Design</vt:lpstr>
      <vt:lpstr>1_Full Page Interior</vt:lpstr>
      <vt:lpstr>think-cell Slide</vt:lpstr>
      <vt:lpstr>PowerPoint Presentation</vt:lpstr>
      <vt:lpstr>&lt;Country&gt; Key Takeaways from TDD</vt:lpstr>
      <vt:lpstr>&lt;Country&gt; Accomplishments Needed</vt:lpstr>
      <vt:lpstr>&lt;Country&gt; Actions to be Taken</vt:lpstr>
      <vt:lpstr>&lt;Country&gt; Action Plan for Implementation</vt:lpstr>
      <vt:lpstr>Barrier/Challenge of Implementation of Plan</vt:lpstr>
      <vt:lpstr>&lt;Country&gt; Support Neede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Y2016 TDLC Steering Committee</dc:title>
  <dc:creator>Daniel Levine</dc:creator>
  <cp:lastModifiedBy>Yuko Okazawa</cp:lastModifiedBy>
  <cp:revision>468</cp:revision>
  <cp:lastPrinted>2017-06-13T05:50:10Z</cp:lastPrinted>
  <dcterms:created xsi:type="dcterms:W3CDTF">2014-09-04T17:37:55Z</dcterms:created>
  <dcterms:modified xsi:type="dcterms:W3CDTF">2018-03-07T00:48:01Z</dcterms:modified>
</cp:coreProperties>
</file>